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1"/>
  </p:sldMasterIdLst>
  <p:notesMasterIdLst>
    <p:notesMasterId r:id="rId20"/>
  </p:notesMasterIdLst>
  <p:handoutMasterIdLst>
    <p:handoutMasterId r:id="rId21"/>
  </p:handoutMasterIdLst>
  <p:sldIdLst>
    <p:sldId id="398" r:id="rId12"/>
    <p:sldId id="415" r:id="rId13"/>
    <p:sldId id="418" r:id="rId14"/>
    <p:sldId id="417" r:id="rId15"/>
    <p:sldId id="419" r:id="rId16"/>
    <p:sldId id="420" r:id="rId17"/>
    <p:sldId id="421" r:id="rId18"/>
    <p:sldId id="397" r:id="rId19"/>
  </p:sldIdLst>
  <p:sldSz cx="9144000" cy="5143500" type="screen16x9"/>
  <p:notesSz cx="6858000" cy="9144000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ouze, Juul" initials="DJ" lastIdx="18" clrIdx="0">
    <p:extLst>
      <p:ext uri="{19B8F6BF-5375-455C-9EA6-DF929625EA0E}">
        <p15:presenceInfo xmlns:p15="http://schemas.microsoft.com/office/powerpoint/2012/main" userId="S-1-5-21-2052111302-790525478-839522115-897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9A91"/>
    <a:srgbClr val="15973A"/>
    <a:srgbClr val="80241A"/>
    <a:srgbClr val="DE7C00"/>
    <a:srgbClr val="00A8EB"/>
    <a:srgbClr val="8345BA"/>
    <a:srgbClr val="D10077"/>
    <a:srgbClr val="9AD7F9"/>
    <a:srgbClr val="0077CC"/>
    <a:srgbClr val="0062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6C4855D-15F0-4B92-9C19-D55C7CAA8577}" v="22" dt="2023-03-13T22:43:34.336"/>
    <p1510:client id="{8721AD39-F2F0-4555-97F0-4365E701BE8F}" v="125" dt="2023-03-14T17:22:31.312"/>
    <p1510:client id="{9F1A2768-319E-4AE9-BC8F-93135FDD3D3E}" v="4" dt="2023-03-13T23:39:07.80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3" d="100"/>
          <a:sy n="83" d="100"/>
        </p:scale>
        <p:origin x="80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customXml" Target="../customXml/item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1.xml"/><Relationship Id="rId24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4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customXml" Target="../customXml/item10.xml"/><Relationship Id="rId19" Type="http://schemas.openxmlformats.org/officeDocument/2006/relationships/slide" Target="slides/slide8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6D88A55-27A1-4726-B6BA-565570B037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>
              <a:latin typeface="Calibri Light" panose="020F030202020403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F60674-C439-4C47-991B-97891DFF182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8B6A92-9AC4-4241-A12D-3E444424FB26}" type="datetimeFigureOut">
              <a:rPr lang="en-IN" smtClean="0">
                <a:latin typeface="Calibri Light" panose="020F0302020204030204" pitchFamily="34" charset="0"/>
              </a:rPr>
              <a:t>29-03-2023</a:t>
            </a:fld>
            <a:endParaRPr lang="en-IN">
              <a:latin typeface="Calibri Light" panose="020F03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188F0D-C29C-4E6C-958B-8709D00BDD5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>
              <a:latin typeface="Calibri Light" panose="020F030202020403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F97745-075A-4829-97D2-C764BFC9ED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3909FF-10D1-4B66-B741-D72AB76F569D}" type="slidenum">
              <a:rPr lang="en-IN" smtClean="0">
                <a:latin typeface="Calibri Light" panose="020F0302020204030204" pitchFamily="34" charset="0"/>
              </a:rPr>
              <a:t>‹#›</a:t>
            </a:fld>
            <a:endParaRPr lang="en-IN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13822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Calibri Light" panose="020F03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Calibri Light" panose="020F0302020204030204" pitchFamily="34" charset="0"/>
              </a:defRPr>
            </a:lvl1pPr>
          </a:lstStyle>
          <a:p>
            <a:fld id="{D710CCDE-DDDC-4977-B090-4BB893DA5E37}" type="datetimeFigureOut">
              <a:rPr lang="en-US" smtClean="0"/>
              <a:pPr/>
              <a:t>3/2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Calibri Light" panose="020F03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Calibri Light" panose="020F0302020204030204" pitchFamily="34" charset="0"/>
              </a:defRPr>
            </a:lvl1pPr>
          </a:lstStyle>
          <a:p>
            <a:fld id="{73309035-2A4D-4DEF-8CB7-7629389143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7139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1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8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9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10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11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3.bin"/><Relationship Id="rId4" Type="http://schemas.openxmlformats.org/officeDocument/2006/relationships/image" Target="../media/image12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1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blue">
    <p:bg>
      <p:bgPr>
        <a:gradFill>
          <a:gsLst>
            <a:gs pos="66000">
              <a:srgbClr val="005595"/>
            </a:gs>
            <a:gs pos="19000">
              <a:srgbClr val="00325D"/>
            </a:gs>
            <a:gs pos="100000">
              <a:schemeClr val="accent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70A3CAD-6999-8848-92A5-B02A4C5F2FE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41915F4-B8A1-F747-84F8-C0A9E23EAB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AF1B9CF-7070-3E45-A8F8-B49FDF1700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1F86775-9BAC-8C4A-B0F3-6CCEF30561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974426A-8BB2-2343-9F2B-54B7DD183B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236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overlay left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254870" y="0"/>
            <a:ext cx="5889129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Click icon to insert photo </a:t>
            </a:r>
            <a:r>
              <a:rPr lang="en-US" b="0" i="0" noProof="0">
                <a:solidFill>
                  <a:srgbClr val="1A1A1A"/>
                </a:solidFill>
                <a:effectLst/>
                <a:latin typeface="OpenSans"/>
              </a:rPr>
              <a:t>966 x 843 px</a:t>
            </a:r>
            <a:endParaRPr lang="en-US" noProof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9496" y="4719600"/>
            <a:ext cx="1064563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74F6BD1-05E3-0748-8229-5BFCF37D213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8C7E7A55-842A-944F-B105-E98E505B498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78000"/>
            <a:ext cx="2627313" cy="4320000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rgbClr val="00629F"/>
              </a:buClr>
              <a:buNone/>
              <a:tabLst/>
              <a:defRPr sz="2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rgbClr val="00629F"/>
              </a:buClr>
              <a:buNone/>
              <a:tabLst/>
              <a:defRPr sz="24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rgbClr val="00629F"/>
              </a:buClr>
              <a:buNone/>
              <a:tabLst/>
              <a:defRPr sz="1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rgbClr val="00629F"/>
              </a:buClr>
              <a:buNone/>
              <a:tabLst/>
              <a:defRPr sz="1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5232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lef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 anchorCtr="0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FB4E9C5-372D-B54F-AB35-3198E76F9BE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A6F08260-F124-AB45-A656-0CF6C91D54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09600"/>
            <a:ext cx="2627313" cy="3484800"/>
          </a:xfrm>
          <a:solidFill>
            <a:srgbClr val="00629F"/>
          </a:solidFill>
        </p:spPr>
        <p:txBody>
          <a:bodyPr lIns="10800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chemeClr val="bg1"/>
              </a:buClr>
              <a:buNone/>
              <a:tabLst/>
              <a:defRPr sz="2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chemeClr val="bg1"/>
              </a:buClr>
              <a:tabLst/>
              <a:defRPr sz="24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chemeClr val="bg1"/>
              </a:buClr>
              <a:tabLst/>
              <a:defRPr sz="1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chemeClr val="bg1"/>
              </a:buClr>
              <a:tabLst/>
              <a:defRPr sz="1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9162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 anchorCtr="0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81D39-1145-FA4E-B683-513036C3479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E8E77E7-B238-0A4C-BBF8-DDD421A9C0A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09600"/>
            <a:ext cx="2627313" cy="3484800"/>
          </a:xfrm>
          <a:solidFill>
            <a:schemeClr val="bg1"/>
          </a:solidFill>
        </p:spPr>
        <p:txBody>
          <a:bodyPr lIns="10800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rgbClr val="00629F"/>
              </a:buClr>
              <a:buNone/>
              <a:tabLst/>
              <a:defRPr sz="2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rgbClr val="00629F"/>
              </a:buClr>
              <a:tabLst/>
              <a:defRPr sz="24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rgbClr val="00629F"/>
              </a:buClr>
              <a:tabLst/>
              <a:defRPr sz="1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rgbClr val="00629F"/>
              </a:buClr>
              <a:tabLst/>
              <a:defRPr sz="1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8751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righ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CEDFCF-642D-F141-9A43-DB7CB01B36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922B8767-9500-8248-B35C-32B6CDB014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08400" y="1209600"/>
            <a:ext cx="2627313" cy="3484800"/>
          </a:xfrm>
          <a:solidFill>
            <a:srgbClr val="00629F"/>
          </a:solidFill>
        </p:spPr>
        <p:txBody>
          <a:bodyPr lIns="10800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chemeClr val="bg1"/>
              </a:buClr>
              <a:buNone/>
              <a:tabLst/>
              <a:defRPr sz="2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chemeClr val="bg1"/>
              </a:buClr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chemeClr val="bg1"/>
              </a:buClr>
              <a:tabLst/>
              <a:defRPr sz="1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chemeClr val="bg1"/>
              </a:buClr>
              <a:tabLst/>
              <a:defRPr sz="1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9013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E0A4A19-89A9-8948-BDDE-4E2EB8CFE8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86B91CD-B8EC-8C40-A3C6-C3EC4ECDB5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08400" y="1209600"/>
            <a:ext cx="2627313" cy="3484800"/>
          </a:xfrm>
          <a:solidFill>
            <a:schemeClr val="bg1"/>
          </a:solidFill>
        </p:spPr>
        <p:txBody>
          <a:bodyPr lIns="10800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rgbClr val="00629F"/>
              </a:buClr>
              <a:buNone/>
              <a:tabLst/>
              <a:defRPr sz="2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rgbClr val="00629F"/>
              </a:buClr>
              <a:tabLst/>
              <a:defRPr sz="24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rgbClr val="00629F"/>
              </a:buClr>
              <a:tabLst/>
              <a:defRPr sz="1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rgbClr val="00629F"/>
              </a:buClr>
              <a:tabLst/>
              <a:defRPr sz="1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8660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4511675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Click icon to insert photo 419 x 843 px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21213" y="376238"/>
            <a:ext cx="3406776" cy="827087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</a:t>
            </a:r>
            <a:br>
              <a:rPr lang="en-US" noProof="0"/>
            </a:br>
            <a:r>
              <a:rPr lang="en-US" noProof="0"/>
              <a:t>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621212" y="1211264"/>
            <a:ext cx="4016375" cy="34845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01598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633200" y="0"/>
            <a:ext cx="45108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Click icon to insert photo 419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7" y="376238"/>
            <a:ext cx="3997325" cy="827999"/>
          </a:xfr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</a:t>
            </a:r>
            <a:br>
              <a:rPr lang="en-US" noProof="0"/>
            </a:br>
            <a:r>
              <a:rPr lang="en-US" noProof="0"/>
              <a:t>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3237" y="1211264"/>
            <a:ext cx="3997325" cy="34845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917A831-45CE-E541-96F2-3935F3CC6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47675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mall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254871" y="0"/>
            <a:ext cx="5889128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Click icon to insert photo </a:t>
            </a:r>
            <a:r>
              <a:rPr lang="en-US" b="0" i="0" noProof="0">
                <a:solidFill>
                  <a:srgbClr val="1A1A1A"/>
                </a:solidFill>
                <a:effectLst/>
                <a:latin typeface="OpenSans"/>
              </a:rPr>
              <a:t>966 x 843 px</a:t>
            </a:r>
            <a:endParaRPr lang="en-US" noProof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2DB076B3-C88A-1849-AD02-099D8151BF1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9497" y="4719600"/>
            <a:ext cx="1064562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7" y="376239"/>
            <a:ext cx="2628901" cy="827999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</a:t>
            </a:r>
            <a:br>
              <a:rPr lang="en-US" noProof="0"/>
            </a:br>
            <a:r>
              <a:rPr lang="en-US" noProof="0"/>
              <a:t>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3237" y="1211263"/>
            <a:ext cx="2628901" cy="3484562"/>
          </a:xfrm>
        </p:spPr>
        <p:txBody>
          <a:bodyPr/>
          <a:lstStyle>
            <a:lvl5pPr>
              <a:defRPr b="0" i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04752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702219D4-C592-8940-ADFF-E19A71A469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03238" y="1211263"/>
            <a:ext cx="8125200" cy="3484562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>
              <a:defRPr lang="en-NL"/>
            </a:lvl1pPr>
          </a:lstStyle>
          <a:p>
            <a:pPr marL="0" lvl="0" indent="0" algn="ctr">
              <a:buNone/>
            </a:pPr>
            <a:r>
              <a:rPr lang="en-US" noProof="0"/>
              <a:t>Insert picture 1333 x 572 px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C3C2A1-07A7-5B41-8DE2-73B3A2C86E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875176-00E7-454C-A1B4-BB08BBCF1A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0A9FE6-F5F5-754B-9C8F-D2926ACD6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783748B-8051-B04A-A330-D39286CDE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376238"/>
            <a:ext cx="7524750" cy="719137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277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content -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03237" y="1211263"/>
            <a:ext cx="5380037" cy="3484562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Insert picture 882 x 572 px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7" y="376238"/>
            <a:ext cx="7523999" cy="720000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007100" y="1211263"/>
            <a:ext cx="2633663" cy="348456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29567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ue">
    <p:bg>
      <p:bgPr>
        <a:gradFill>
          <a:gsLst>
            <a:gs pos="54000">
              <a:srgbClr val="277CBD"/>
            </a:gs>
            <a:gs pos="0">
              <a:srgbClr val="004F9B"/>
            </a:gs>
            <a:gs pos="100000">
              <a:srgbClr val="4EA8DE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18566EE-6596-4E4C-80AE-F3AC8BE71E4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41915F4-B8A1-F747-84F8-C0A9E23EAB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AF1B9CF-7070-3E45-A8F8-B49FDF1700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1F86775-9BAC-8C4A-B0F3-6CCEF30561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974426A-8BB2-2343-9F2B-54B7DD183B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0384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conten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7D58B0C-DEF4-9C4E-83F3-91ADA716B2A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252788" y="1211263"/>
            <a:ext cx="5378400" cy="3484562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>
              <a:defRPr lang="en-NL"/>
            </a:lvl1pPr>
          </a:lstStyle>
          <a:p>
            <a:pPr marL="0" lvl="0" indent="0" algn="ctr">
              <a:buNone/>
            </a:pPr>
            <a:r>
              <a:rPr lang="en-US" noProof="0"/>
              <a:t>Insert picture 882 x 572 px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7" y="376238"/>
            <a:ext cx="7523999" cy="720000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3239" y="1211263"/>
            <a:ext cx="2628900" cy="348456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79744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E396CD-AD2C-4C47-BD26-1A8BF8500B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376238"/>
            <a:ext cx="7524750" cy="719137"/>
          </a:xfr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C3C2A1-07A7-5B41-8DE2-73B3A2C86E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875176-00E7-454C-A1B4-BB08BBCF1A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0A9FE6-F5F5-754B-9C8F-D2926ACD6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A8E6095F-3389-2E4D-BCE2-11E746829FB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02902" y="1211263"/>
            <a:ext cx="4003199" cy="2662237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>
              <a:buFontTx/>
              <a:buNone/>
              <a:defRPr lang="en-NL">
                <a:latin typeface="+mn-lt"/>
              </a:defRPr>
            </a:lvl1pPr>
          </a:lstStyle>
          <a:p>
            <a:pPr marL="0" lvl="0" indent="0" algn="ctr">
              <a:buNone/>
            </a:pPr>
            <a:r>
              <a:rPr lang="en-US" noProof="0"/>
              <a:t>Insert picture 657 x 437 px </a:t>
            </a:r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6339CC5C-F22B-304D-A447-6670052130F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33200" y="1211263"/>
            <a:ext cx="4004388" cy="2662237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lang="en-NL"/>
            </a:lvl1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Insert picture 657 x 437 px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6D2172C-34C6-364E-BF0F-059D58EB956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02901" y="3873600"/>
            <a:ext cx="3996000" cy="820799"/>
          </a:xfrm>
        </p:spPr>
        <p:txBody>
          <a:bodyPr lIns="0" tIns="108000" rIns="90000" bIns="0" numCol="1" spcCol="270000">
            <a:noAutofit/>
          </a:bodyPr>
          <a:lstStyle>
            <a:lvl1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1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9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4430373-7B1A-A941-AC6D-93D4F8DFD56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33200" y="3873600"/>
            <a:ext cx="3996000" cy="820799"/>
          </a:xfrm>
        </p:spPr>
        <p:txBody>
          <a:bodyPr lIns="0" tIns="108000" rIns="90000" bIns="0" numCol="1" spcCol="270000">
            <a:noAutofit/>
          </a:bodyPr>
          <a:lstStyle>
            <a:lvl1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1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9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0997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">
    <p:bg>
      <p:bgPr>
        <a:gradFill>
          <a:gsLst>
            <a:gs pos="66000">
              <a:srgbClr val="005595"/>
            </a:gs>
            <a:gs pos="19000">
              <a:srgbClr val="00325D"/>
            </a:gs>
            <a:gs pos="100000">
              <a:schemeClr val="accent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6080312F-DC21-814A-BAB8-040151BB50ED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04826" y="4884454"/>
            <a:ext cx="718767" cy="10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C96B7945-F4F7-DE48-B97F-38E596BA46D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948068" y="4884454"/>
            <a:ext cx="3910151" cy="10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32A57064-1C6C-D845-B014-09A3E682B67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82120" y="4864360"/>
            <a:ext cx="199973" cy="15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B04BB31-3751-EE42-AD85-15C18A98058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2E323967-404E-AB4C-AC4D-0CDC89DC553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50021F8C-4E5C-3D45-BF5D-F2AF9BAC1C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430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mid-tone blue ">
    <p:bg>
      <p:bgPr>
        <a:gradFill>
          <a:gsLst>
            <a:gs pos="59500">
              <a:srgbClr val="0086C5"/>
            </a:gs>
            <a:gs pos="19000">
              <a:srgbClr val="00629F"/>
            </a:gs>
            <a:gs pos="100000">
              <a:srgbClr val="00A9EB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4">
            <a:extLst>
              <a:ext uri="{FF2B5EF4-FFF2-40B4-BE49-F238E27FC236}">
                <a16:creationId xmlns:a16="http://schemas.microsoft.com/office/drawing/2014/main" id="{CF684170-CD15-0644-90DE-14C3E2C95BD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04826" y="4884454"/>
            <a:ext cx="718767" cy="10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200883EC-6C7C-274C-AE4E-CFD99CA9C6C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948068" y="4884454"/>
            <a:ext cx="3910151" cy="10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792B5FA1-DF99-E442-8EBC-42C77C709B5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82120" y="4864360"/>
            <a:ext cx="199973" cy="15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2C2815B-2D21-594A-B627-9046569E9A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9F0F0025-6299-A044-A653-6354D5DBB32B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13279F3-F710-B24E-9A7D-299C782C324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887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blu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1224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9023F51-026D-5E46-9A54-3FB9875B6196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9025032-5E65-0840-928E-8CC0B6A814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03445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blu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4496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DEDCE0C-F84F-1E4A-ACC3-F4EDF4557EC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76F0F002-1EDC-2C43-90DE-583DAA8D58CF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0D338944-5F6B-8740-B33F-3797457441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9207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3272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5D74535-3265-D64A-81E0-73381FFC4CA3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3325164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blue ">
    <p:bg>
      <p:bgPr>
        <a:solidFill>
          <a:srgbClr val="9AD7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4587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4B1CE47-33D4-D54E-A336-2A5701982D7C}"/>
              </a:ext>
            </a:extLst>
          </p:cNvPr>
          <p:cNvSpPr/>
          <p:nvPr userDrawn="1"/>
        </p:nvSpPr>
        <p:spPr>
          <a:xfrm>
            <a:off x="2771800" y="2571750"/>
            <a:ext cx="3240360" cy="1008112"/>
          </a:xfrm>
          <a:prstGeom prst="rect">
            <a:avLst/>
          </a:prstGeom>
          <a:solidFill>
            <a:srgbClr val="99D6F8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F47BF3EC-16CE-A141-8FF7-985EF5BC11AF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5263BCAC-4CA0-974A-9D7E-258AFDAEDB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41765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aqua">
    <p:bg>
      <p:bgPr>
        <a:gradFill>
          <a:gsLst>
            <a:gs pos="65000">
              <a:srgbClr val="007377"/>
            </a:gs>
            <a:gs pos="15000">
              <a:srgbClr val="004B5D"/>
            </a:gs>
            <a:gs pos="100000">
              <a:srgbClr val="009A9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579AC81-C363-A948-A173-2610E0CA6E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1A0CBB6-7602-DE40-B831-5A107B3A2C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8A4F92F-F20F-6F4A-80DE-BF396AB6B1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8785A6D-6D1D-FC43-B2BE-87D984BA45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2FA384E-014D-9B44-93C2-668D70BBA4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308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aqua">
    <p:bg>
      <p:bgPr>
        <a:gradFill>
          <a:gsLst>
            <a:gs pos="65000">
              <a:srgbClr val="007377"/>
            </a:gs>
            <a:gs pos="15000">
              <a:srgbClr val="004B5D"/>
            </a:gs>
            <a:gs pos="100000">
              <a:srgbClr val="009A9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3D2C968-C244-0D49-AD1E-AFCB0A150AE5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9891879-481F-9042-86C3-D097F65751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478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83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1" y="376238"/>
            <a:ext cx="7523937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rgbClr val="00629F"/>
                </a:solidFill>
                <a:latin typeface="+mj-lt"/>
              </a:defRPr>
            </a:lvl1pPr>
          </a:lstStyle>
          <a:p>
            <a:endParaRPr lang="en-US" noProof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D91CE8-1286-8B44-89AD-06BCF1ECB08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2282174-65D2-744A-B154-E872792C7B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99543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aqu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4A82FD8-C123-6C4B-8DBE-9837122C55EC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5AC5C26-E5A8-3C47-93EB-265662C7AB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95169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aqu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BAEF666-6359-5147-A05F-BA3CE32B16B7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F82B835-5158-3F45-A2C4-061F625ECB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C4E03471-5FE6-D74B-9540-92B9C4D01D9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10413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aqu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315E7E6A-5494-3142-B269-7544F9FE7C86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3916368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aqua ">
    <p:bg>
      <p:bgPr>
        <a:solidFill>
          <a:srgbClr val="7EDD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F811A9D1-DBF1-C14E-991F-72D578D7466F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0D900186-F920-6143-855B-886099E8AD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76707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green">
    <p:bg>
      <p:bgPr>
        <a:gradFill>
          <a:gsLst>
            <a:gs pos="67000">
              <a:srgbClr val="006635"/>
            </a:gs>
            <a:gs pos="17000">
              <a:srgbClr val="004631"/>
            </a:gs>
            <a:gs pos="100000">
              <a:srgbClr val="008538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05BBF4A6-8DDC-2E4C-96CF-51EBD1E6D01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FB8A8EB-436C-6845-86B7-D6FDC99FC0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AE0E691-8886-0E40-9EA4-B3F26CBD07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6D863537-6FEA-BE40-BF38-7FB3EB702F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128E57D-867F-FB4E-9580-AC8A24BC56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3914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green">
    <p:bg>
      <p:bgPr>
        <a:gradFill>
          <a:gsLst>
            <a:gs pos="67000">
              <a:srgbClr val="006635"/>
            </a:gs>
            <a:gs pos="17000">
              <a:srgbClr val="004631"/>
            </a:gs>
            <a:gs pos="100000">
              <a:srgbClr val="008538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3029DE3-64CC-1E40-9F25-0CCA08B61EA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4CEB893-B518-6041-B6CB-4CBC6971C4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2848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C915394F-6FD1-B44A-8BC5-25A08530D6B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1115E60C-9A7F-7F49-933E-B7F92FC68E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32979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2B1E0AD-84FA-5242-9A46-D758468C9A8B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E0D12D96-2291-5F4D-BBAF-D4B2125B99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20390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EDD577C-F99F-FA4F-9FB5-A0C6AA0A7B9B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4205019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green ">
    <p:bg>
      <p:bgPr>
        <a:solidFill>
          <a:srgbClr val="A0DA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57255F6-8C21-744F-8D92-C06DDC109BEC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3C389B14-2D49-EE42-981F-30A66F75FB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97672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3413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1" y="376238"/>
            <a:ext cx="7523937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BA8BC5E-E6A4-8645-A260-7CADE8CBCF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C02D2E6-100E-1F4B-9A7C-96F5646577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tx1"/>
              </a:buClr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tx1"/>
              </a:buClr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tx1"/>
              </a:buClr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48721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range">
    <p:bg>
      <p:bgPr>
        <a:gradFill>
          <a:gsLst>
            <a:gs pos="70000">
              <a:srgbClr val="CC5B21"/>
            </a:gs>
            <a:gs pos="10000">
              <a:srgbClr val="AA3526"/>
            </a:gs>
            <a:gs pos="100000">
              <a:srgbClr val="EE801C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8AE024E-D1DE-C94C-9CD8-854D4BCAA9B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908D519-DB29-5745-B29A-73745ED259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7EDB387-9FED-7D4A-9D4B-F0FEF66D69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CE77903-9A5C-CD4A-BFFA-94D952A945D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C1FB469-169F-6145-9457-2AD3FA7D03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5952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orange">
    <p:bg>
      <p:bgPr>
        <a:gradFill>
          <a:gsLst>
            <a:gs pos="70000">
              <a:srgbClr val="CC5B21"/>
            </a:gs>
            <a:gs pos="10000">
              <a:srgbClr val="AA3526"/>
            </a:gs>
            <a:gs pos="100000">
              <a:srgbClr val="EE801C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FA0C0B3-F2D9-E64F-8BD1-FB651108C6E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AB368F29-A0F3-CB41-8BE8-8BBB19E488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9031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1EB9AEEA-C1D8-F744-818F-1B46877C98D0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BD88AF71-7FE9-C34C-BA7E-DCB2552480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95613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0604DC70-6B27-494D-96E0-FD89F9EE6A3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0B597171-0B66-7940-8E37-08BEE9007F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50357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orange">
    <p:bg>
      <p:bgPr>
        <a:solidFill>
          <a:srgbClr val="DE7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46D74D1-4655-1543-8CF6-6BF7823C4521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402276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orange ">
    <p:bg>
      <p:bgPr>
        <a:solidFill>
          <a:srgbClr val="FDD3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5C94CFF-D91A-4F41-8BA6-E95F1752CCD8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50FFAD38-CDC2-B446-A69B-6AE99B7F17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38344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agenta">
    <p:bg>
      <p:bgPr>
        <a:gradFill>
          <a:gsLst>
            <a:gs pos="64000">
              <a:srgbClr val="B90C62"/>
            </a:gs>
            <a:gs pos="13000">
              <a:srgbClr val="7F184A"/>
            </a:gs>
            <a:gs pos="100000">
              <a:srgbClr val="F3007A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F2A7186A-964A-EB4F-9789-044D19D95B0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127F79B-1E65-DD48-B267-7AFEB6BBE2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20A9773-912D-6D4A-A0AE-90D94C6C65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B340A695-565C-C043-A4B4-C207135F1A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239C626-9C15-2643-A855-1774CFA000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4518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magenta">
    <p:bg>
      <p:bgPr>
        <a:gradFill>
          <a:gsLst>
            <a:gs pos="64000">
              <a:srgbClr val="B90C62"/>
            </a:gs>
            <a:gs pos="13000">
              <a:srgbClr val="7F184A"/>
            </a:gs>
            <a:gs pos="100000">
              <a:srgbClr val="F3007A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D31B981-DD0B-5D4C-8417-F2DDB9BFD56A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D286636-2880-ED4E-BBAA-D8B224CAD9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6176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magent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E1BA89A-E5A3-F641-B25E-4A8111969303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01DB0F5-C84F-CC4F-AF5C-9DB1CBA157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89638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magent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8C348877-476A-6B4C-A12D-64D2709CD87F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9AFBC0C-67B5-B845-B0A6-CCF7CFE846D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13867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3829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1" y="376238"/>
            <a:ext cx="7523937" cy="719137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2400">
                <a:solidFill>
                  <a:srgbClr val="00629F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D91CE8-1286-8B44-89AD-06BCF1ECB08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64473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magent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E7A9680-8254-064D-82E7-A42090B7D70A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1236056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magenta ">
    <p:bg>
      <p:bgPr>
        <a:solidFill>
          <a:srgbClr val="EABE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232576B3-A440-3948-B537-27709157EB01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5B673564-5C8F-924B-865D-42FDB77924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78859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urple">
    <p:bg>
      <p:bgPr>
        <a:gradFill>
          <a:gsLst>
            <a:gs pos="68000">
              <a:srgbClr val="6D258C"/>
            </a:gs>
            <a:gs pos="13000">
              <a:srgbClr val="450659"/>
            </a:gs>
            <a:gs pos="100000">
              <a:srgbClr val="9443BE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1BB80A2C-1391-9F42-89CA-3283D012270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725152D-96F4-C548-8A29-98FC765774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FA72A02-B72F-AA46-A1B9-972C4E4911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BE3F0DA-D8A1-4C4E-B6E8-DA8D240EF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CDE3264-E045-0641-A1A3-A1E80BC0E42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8484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purple">
    <p:bg>
      <p:bgPr>
        <a:gradFill>
          <a:gsLst>
            <a:gs pos="68000">
              <a:srgbClr val="6D258C"/>
            </a:gs>
            <a:gs pos="13000">
              <a:srgbClr val="450659"/>
            </a:gs>
            <a:gs pos="100000">
              <a:srgbClr val="9443BE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9CAD6624-CFD3-DE4F-9CE8-5EA1C453A873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F89A81F-5DBF-634D-A753-E2383D9012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2078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purple">
    <p:bg>
      <p:bgPr>
        <a:solidFill>
          <a:srgbClr val="8345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05406B4-D089-FF4F-8963-A2FC70C89784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A523F0ED-CB93-DE48-AFB9-A53AD55835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9132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purple ">
    <p:bg>
      <p:bgPr>
        <a:solidFill>
          <a:srgbClr val="8345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AFBDA501-D362-2A4F-A6ED-4245831FDEA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43130FA-B170-8448-BE52-8B7BFBDA9E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1966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purple">
    <p:bg>
      <p:bgPr>
        <a:solidFill>
          <a:srgbClr val="8345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D822C79-3554-5A4B-9209-FC2B5267AA88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2463739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purple">
    <p:bg>
      <p:bgPr>
        <a:solidFill>
          <a:srgbClr val="C1A0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3431FD78-9D96-9849-AB18-46CC54BF0B00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7567609-5959-4141-B4DA-A1F5F678EF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2994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3 rows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50CE0E-F179-458C-AEB1-36BDA9AF42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0378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50CE0E-F179-458C-AEB1-36BDA9AF42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FE540E8-853F-49F5-AAA0-593FDDFCB4F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4C2BE2D-951F-4D2E-A248-5E79BA206E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me period, data scenario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441B2E9-68F4-4A38-9D55-0A186439180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Reporting entit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058F3F5-669F-4BEE-968A-F64356A6CD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ontent, unit measurement</a:t>
            </a:r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C4A983AC-6F9B-471B-87E8-D4505A31FE4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EA0FB69-E866-4F1C-87F8-ADA6A511DB1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4456" y="948267"/>
            <a:ext cx="8955089" cy="377613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A3B99A-F127-9346-BD1E-5E71BD5CE196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A0BD20F-1F50-6A4D-99F6-9DA774AC2A4E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C5230213-6661-3D4D-8989-3D83676989A5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34717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4 rows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AB418BD-1930-49DC-9A84-0178614669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7532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AB418BD-1930-49DC-9A84-0178614669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894897C-9089-4E46-A4DC-D9375AE2C97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Unit of measurement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eriod, data scenario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Reporting entity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&amp;L detail per business</a:t>
            </a:r>
          </a:p>
        </p:txBody>
      </p:sp>
      <p:sp>
        <p:nvSpPr>
          <p:cNvPr id="24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5C9809-688D-4100-A0FE-DB6EB41BC20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F164E04-503E-48E0-8056-F4A846A8D60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3E3274A-0D5B-4B5E-963A-4AD0C038490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14" name="Straight Connector 17">
            <a:extLst>
              <a:ext uri="{FF2B5EF4-FFF2-40B4-BE49-F238E27FC236}">
                <a16:creationId xmlns:a16="http://schemas.microsoft.com/office/drawing/2014/main" id="{073504F8-A36C-4A96-9962-DBD59D731B7C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97E0385-9465-469B-9CA7-ABB0EB4E48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456" y="948268"/>
            <a:ext cx="8955089" cy="377613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49489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orient="horz" pos="534">
          <p15:clr>
            <a:srgbClr val="FBAE40"/>
          </p15:clr>
        </p15:guide>
        <p15:guide id="3" pos="5697">
          <p15:clr>
            <a:srgbClr val="FBAE40"/>
          </p15:clr>
        </p15:guide>
        <p15:guide id="4" orient="horz" pos="393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7664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03697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C896B7-FACB-4D7B-A4F4-8CE484CBAD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6754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C896B7-FACB-4D7B-A4F4-8CE484CBA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ADAA302-4954-4070-845B-E3247AC801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1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913354F-6E59-49EF-93BE-EAF0DC89F6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Unit of measuremen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7171BA3-E603-4FDD-B59F-EF9A1D5D539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eriod, data scenario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FD21293-C0ED-4019-808D-8F22DD7C370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Reporting entit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CDAF2D5-0296-4D0F-805B-B7D7045798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&amp;L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50E6CF-65D4-44D5-BB75-32FC616FF2ED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3B535E-80AA-4B5F-B505-6AE4D82B205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779868-A62C-4FF8-88BB-692DFBB3AF3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8CA4B699-1B76-42B1-970D-8B5F927F5D43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9807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no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47BB81-5ED6-4620-B6AB-9F7CAE2CB6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8066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47BB81-5ED6-4620-B6AB-9F7CAE2CB6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84C154A-EDEF-494B-95FD-05C9428083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2B18CF-CA9C-4A69-B7C8-A4C94FF29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6AD015-F4ED-4FC4-A52C-B985B1A9C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E7AFA2-6720-468E-9F40-2499D9FB7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9" name="Straight Connector 17">
            <a:extLst>
              <a:ext uri="{FF2B5EF4-FFF2-40B4-BE49-F238E27FC236}">
                <a16:creationId xmlns:a16="http://schemas.microsoft.com/office/drawing/2014/main" id="{50CCBDD5-A078-4F63-AC4E-A4BB95B75007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7779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text box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73966E-CFE3-49CC-B52A-C5B637544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2766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73966E-CFE3-49CC-B52A-C5B637544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FC3CDD-A9EE-4A29-BDB5-DDD9F2931D2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3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0BB6E0D-3F39-440A-BD9D-79E5F24876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Unit of measuremen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5E28750-0E4B-4D33-9132-AD81766D92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eriod, data scenario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C5D1072-8A57-4985-9114-7AB80099D9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Reporting entity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22D0EE4-A772-43CA-87B6-4AAA26C168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&amp;L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82124D-0640-4AE6-AECC-F4880DA1C39A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1E07C9-1AA8-427A-8D3F-F90DA800C51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797C04-425D-49F7-8B2B-D4A178C161E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F4A6D036-B440-4848-AD09-10D95A6851EB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98D6D76-355E-455E-9573-01D135D9D92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55361" y="948268"/>
            <a:ext cx="2694184" cy="377613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04776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text box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039C25-38EE-4409-8846-AD3780FDA7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0625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039C25-38EE-4409-8846-AD3780FDA7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31B7F0-8291-45AD-B310-18C6F32CA15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2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66FA14-A13E-4C88-AA9E-2E47483D50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Unit of measuremen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198432D-6F74-40F0-A171-A0B5FD017F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eriod, data scenario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1023FC6-6139-470D-844E-BC0D615613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Reporting entity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2569437-C2DB-4F3A-9508-BB720F4BFE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&amp;L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7D807E-C4CE-4AA4-8ED9-448491339EC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38CB85-32FF-48FD-9896-C7B7E8F6EDB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580397-EA1F-41BE-8CB8-EE87F91FA06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C539D5CE-18F8-4235-A29E-31342295EE06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6F1E93-15E1-4055-8C44-6E1B52D56A8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456" y="3528059"/>
            <a:ext cx="3817122" cy="1196341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116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blue">
    <p:bg>
      <p:bgPr>
        <a:gradFill>
          <a:gsLst>
            <a:gs pos="66000">
              <a:srgbClr val="005595"/>
            </a:gs>
            <a:gs pos="19000">
              <a:srgbClr val="00325D"/>
            </a:gs>
            <a:gs pos="100000">
              <a:schemeClr val="accent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C937022-651A-CB44-9522-9D3927CBABCD}"/>
              </a:ext>
            </a:extLst>
          </p:cNvPr>
          <p:cNvPicPr>
            <a:picLocks/>
          </p:cNvPicPr>
          <p:nvPr userDrawn="1"/>
        </p:nvPicPr>
        <p:blipFill>
          <a:blip r:embed="rId6">
            <a:alphaModFix/>
          </a:blip>
          <a:stretch>
            <a:fillRect/>
          </a:stretch>
        </p:blipFill>
        <p:spPr>
          <a:xfrm>
            <a:off x="3988103" y="1835838"/>
            <a:ext cx="1144502" cy="145782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61779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07504" y="4677984"/>
            <a:ext cx="8928992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1" tIns="40815" rIns="81631" bIns="40815" rtlCol="0" anchor="ctr"/>
          <a:lstStyle/>
          <a:p>
            <a:pPr algn="ctr"/>
            <a:endParaRPr lang="en-US" b="0" i="0" noProof="0">
              <a:latin typeface="Calibri Light" panose="020F0302020204030204" pitchFamily="34" charset="0"/>
            </a:endParaRPr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D2D99289-1788-4094-95D8-16BE8E42F8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8103" y="1835837"/>
            <a:ext cx="1144502" cy="145495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22862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F14B76D6-1E80-FE45-861E-898D9060FB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rgbClr val="00629F"/>
              </a:buClr>
              <a:buNone/>
              <a:tabLst/>
              <a:defRPr sz="3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90000"/>
              </a:lnSpc>
              <a:buClr>
                <a:srgbClr val="00629F"/>
              </a:buClr>
              <a:buNone/>
              <a:tabLst/>
              <a:defRPr sz="3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rgbClr val="00629F"/>
              </a:buClr>
              <a:buNone/>
              <a:tabLst/>
              <a:defRPr sz="30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rgbClr val="00629F"/>
              </a:buClr>
              <a:buNone/>
              <a:tabLst/>
              <a:defRPr sz="2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34005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video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8386B580-0255-B14B-8CC7-759D3E4E7726}"/>
              </a:ext>
            </a:extLst>
          </p:cNvPr>
          <p:cNvSpPr>
            <a:spLocks noGrp="1"/>
          </p:cNvSpPr>
          <p:nvPr>
            <p:ph type="media" sz="quarter" idx="24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bIns="503999" anchor="ctr"/>
          <a:lstStyle>
            <a:lvl1pPr algn="ctr">
              <a:buNone/>
              <a:defRPr/>
            </a:lvl1pPr>
          </a:lstStyle>
          <a:p>
            <a:endParaRPr lang="en-US" noProof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1A9D1465-550E-0E4E-B1C9-13DDC9BD1E1F}"/>
              </a:ext>
            </a:extLst>
          </p:cNvPr>
          <p:cNvSpPr txBox="1">
            <a:spLocks/>
          </p:cNvSpPr>
          <p:nvPr userDrawn="1"/>
        </p:nvSpPr>
        <p:spPr>
          <a:xfrm>
            <a:off x="7889640" y="4719600"/>
            <a:ext cx="1063904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8F9AEC4-9B91-9248-8223-A4EF9444EE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F13E90-F8D2-5949-AAA4-3C6C8F4DC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83D8F-4BC0-164F-B136-151A904FB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789497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Click icon to insert photo 1500 x 843 px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8F9AEC4-9B91-9248-8223-A4EF9444EE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F13E90-F8D2-5949-AAA4-3C6C8F4DC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83D8F-4BC0-164F-B136-151A904FB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8510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2FBD5542-7C18-554E-8C38-9C18824A0F2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80295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7"/>
            </p:custDataLst>
            <p:extLst>
              <p:ext uri="{D42A27DB-BD31-4B8C-83A1-F6EECF244321}">
                <p14:modId xmlns:p14="http://schemas.microsoft.com/office/powerpoint/2010/main" val="1948553763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9" imgW="270" imgH="270" progId="TCLayout.ActiveDocument.1">
                  <p:embed/>
                </p:oleObj>
              </mc:Choice>
              <mc:Fallback>
                <p:oleObj name="think-cell Slide" r:id="rId6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7A5D2E64-2649-4557-8200-E78DF2A57EFC}"/>
              </a:ext>
            </a:extLst>
          </p:cNvPr>
          <p:cNvPicPr>
            <a:picLocks noChangeAspect="1"/>
          </p:cNvPicPr>
          <p:nvPr userDrawn="1"/>
        </p:nvPicPr>
        <p:blipFill>
          <a:blip r:embed="rId7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7297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BA08C5-5A5A-413C-BB47-80E1FBC063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826" y="4884454"/>
            <a:ext cx="718767" cy="10797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1528AAF-4F0A-419B-8AAE-5F058B1EDE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48068" y="4884454"/>
            <a:ext cx="3910151" cy="10797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5343E1D-8E69-45CA-BB05-A8D2AF3930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2120" y="4864360"/>
            <a:ext cx="199973" cy="150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846266C-4ECA-426E-AC3C-9C2166215C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4823" y="1211263"/>
            <a:ext cx="8132765" cy="3484800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94B2A6A-BE43-1D4A-8330-3072C7FC58B6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6" name="Title Placeholder 5">
            <a:extLst>
              <a:ext uri="{FF2B5EF4-FFF2-40B4-BE49-F238E27FC236}">
                <a16:creationId xmlns:a16="http://schemas.microsoft.com/office/drawing/2014/main" id="{A0613193-D73A-5A4B-9E3D-2F277B4E03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376238"/>
            <a:ext cx="7524750" cy="71913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111333B-FBA5-4875-A5DE-3B4281D761D5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396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4" r:id="rId1"/>
    <p:sldLayoutId id="2147484145" r:id="rId2"/>
    <p:sldLayoutId id="2147484178" r:id="rId3"/>
    <p:sldLayoutId id="2147483860" r:id="rId4"/>
    <p:sldLayoutId id="2147483955" r:id="rId5"/>
    <p:sldLayoutId id="2147483692" r:id="rId6"/>
    <p:sldLayoutId id="2147484176" r:id="rId7"/>
    <p:sldLayoutId id="2147483862" r:id="rId8"/>
    <p:sldLayoutId id="2147483948" r:id="rId9"/>
    <p:sldLayoutId id="2147483871" r:id="rId10"/>
    <p:sldLayoutId id="2147483866" r:id="rId11"/>
    <p:sldLayoutId id="2147483975" r:id="rId12"/>
    <p:sldLayoutId id="2147483867" r:id="rId13"/>
    <p:sldLayoutId id="2147483976" r:id="rId14"/>
    <p:sldLayoutId id="2147483984" r:id="rId15"/>
    <p:sldLayoutId id="2147483933" r:id="rId16"/>
    <p:sldLayoutId id="2147483869" r:id="rId17"/>
    <p:sldLayoutId id="2147483939" r:id="rId18"/>
    <p:sldLayoutId id="2147483936" r:id="rId19"/>
    <p:sldLayoutId id="2147483937" r:id="rId20"/>
    <p:sldLayoutId id="2147483938" r:id="rId21"/>
    <p:sldLayoutId id="2147484177" r:id="rId22"/>
    <p:sldLayoutId id="2147484146" r:id="rId23"/>
    <p:sldLayoutId id="2147484184" r:id="rId24"/>
    <p:sldLayoutId id="2147483918" r:id="rId25"/>
    <p:sldLayoutId id="2147483742" r:id="rId26"/>
    <p:sldLayoutId id="2147483766" r:id="rId27"/>
    <p:sldLayoutId id="2147484171" r:id="rId28"/>
    <p:sldLayoutId id="2147484149" r:id="rId29"/>
    <p:sldLayoutId id="2147484183" r:id="rId30"/>
    <p:sldLayoutId id="2147484095" r:id="rId31"/>
    <p:sldLayoutId id="2147484093" r:id="rId32"/>
    <p:sldLayoutId id="2147484100" r:id="rId33"/>
    <p:sldLayoutId id="2147484172" r:id="rId34"/>
    <p:sldLayoutId id="2147484152" r:id="rId35"/>
    <p:sldLayoutId id="2147484182" r:id="rId36"/>
    <p:sldLayoutId id="2147484107" r:id="rId37"/>
    <p:sldLayoutId id="2147484105" r:id="rId38"/>
    <p:sldLayoutId id="2147484109" r:id="rId39"/>
    <p:sldLayoutId id="2147484173" r:id="rId40"/>
    <p:sldLayoutId id="2147484155" r:id="rId41"/>
    <p:sldLayoutId id="2147484181" r:id="rId42"/>
    <p:sldLayoutId id="2147484116" r:id="rId43"/>
    <p:sldLayoutId id="2147484114" r:id="rId44"/>
    <p:sldLayoutId id="2147484118" r:id="rId45"/>
    <p:sldLayoutId id="2147484174" r:id="rId46"/>
    <p:sldLayoutId id="2147484158" r:id="rId47"/>
    <p:sldLayoutId id="2147484180" r:id="rId48"/>
    <p:sldLayoutId id="2147484125" r:id="rId49"/>
    <p:sldLayoutId id="2147484123" r:id="rId50"/>
    <p:sldLayoutId id="2147484127" r:id="rId51"/>
    <p:sldLayoutId id="2147484175" r:id="rId52"/>
    <p:sldLayoutId id="2147484160" r:id="rId53"/>
    <p:sldLayoutId id="2147484179" r:id="rId54"/>
    <p:sldLayoutId id="2147484134" r:id="rId55"/>
    <p:sldLayoutId id="2147484132" r:id="rId56"/>
    <p:sldLayoutId id="2147484136" r:id="rId57"/>
    <p:sldLayoutId id="2147484185" r:id="rId58"/>
    <p:sldLayoutId id="2147484186" r:id="rId59"/>
    <p:sldLayoutId id="2147484187" r:id="rId60"/>
    <p:sldLayoutId id="2147484188" r:id="rId61"/>
    <p:sldLayoutId id="2147484189" r:id="rId62"/>
    <p:sldLayoutId id="2147484190" r:id="rId63"/>
    <p:sldLayoutId id="2147484169" r:id="rId64"/>
    <p:sldLayoutId id="2147484142" r:id="rId65"/>
  </p:sldLayoutIdLst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lang="en-US" sz="2400" kern="1200" smtClean="0">
          <a:solidFill>
            <a:srgbClr val="00629F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40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320040" indent="-13716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20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2pPr>
      <a:lvl3pPr marL="429768" indent="-10795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US" sz="105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594360" indent="-13716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00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701675" indent="-10795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IN" sz="1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7">
          <p15:clr>
            <a:srgbClr val="A4A3A4"/>
          </p15:clr>
        </p15:guide>
        <p15:guide id="2" pos="5441">
          <p15:clr>
            <a:srgbClr val="A4A3A4"/>
          </p15:clr>
        </p15:guide>
        <p15:guide id="4" orient="horz" pos="237">
          <p15:clr>
            <a:srgbClr val="A4A3A4"/>
          </p15:clr>
        </p15:guide>
        <p15:guide id="5" orient="horz" pos="690">
          <p15:clr>
            <a:srgbClr val="A4A3A4"/>
          </p15:clr>
        </p15:guide>
        <p15:guide id="6" orient="horz" pos="763">
          <p15:clr>
            <a:srgbClr val="A4A3A4"/>
          </p15:clr>
        </p15:guide>
        <p15:guide id="7" orient="horz" pos="2958">
          <p15:clr>
            <a:srgbClr val="A4A3A4"/>
          </p15:clr>
        </p15:guide>
        <p15:guide id="12" pos="2911" userDrawn="1">
          <p15:clr>
            <a:srgbClr val="A4A3A4"/>
          </p15:clr>
        </p15:guide>
        <p15:guide id="14" pos="2849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customXml" Target="../../customXml/item9.xml"/><Relationship Id="rId1" Type="http://schemas.openxmlformats.org/officeDocument/2006/relationships/customXml" Target="../../customXml/item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7.png"/><Relationship Id="rId7" Type="http://schemas.openxmlformats.org/officeDocument/2006/relationships/image" Target="../media/image21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2" Type="http://schemas.openxmlformats.org/officeDocument/2006/relationships/customXml" Target="../../customXml/item5.xml"/><Relationship Id="rId1" Type="http://schemas.openxmlformats.org/officeDocument/2006/relationships/customXml" Target="../../customXml/item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328EA9D-BE95-6043-B689-A96A780C39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1400" dirty="0">
                <a:cs typeface="Calibri Light"/>
              </a:rPr>
              <a:t>Harish R Sharm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403BAB-1548-B44F-8E3D-85FE8CD026D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400" dirty="0"/>
              <a:t>Philip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17C87F-2DCD-BF4B-A51C-A8A46AA7C9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z="1400" dirty="0"/>
              <a:t>03_29_2023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F41DCD1-7E07-4346-AC06-6E652593FA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4998" y="2031058"/>
            <a:ext cx="6169658" cy="1206990"/>
          </a:xfrm>
        </p:spPr>
        <p:txBody>
          <a:bodyPr vert="horz" lIns="0" tIns="0" rIns="0" bIns="0" spcCol="324000" rtlCol="0" anchor="t">
            <a:noAutofit/>
          </a:bodyPr>
          <a:lstStyle/>
          <a:p>
            <a:r>
              <a:rPr lang="en-US" sz="2400" dirty="0">
                <a:cs typeface="Calibri Light"/>
              </a:rPr>
              <a:t>Music - The Universal Language of Mankind</a:t>
            </a:r>
            <a:endParaRPr lang="en-US" sz="2400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788356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146CC8-44DC-4C17-AEC6-1FE64729F3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i="1" dirty="0"/>
              <a:t>What is Music ?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EBB17F-F59F-82A5-4CBD-46FED9FAB0E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7AF3CA-E6FD-6432-88AF-8918E1ED16C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CFB891-697D-2FC6-DF4A-3CF6DB9D509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C476905-D2BE-CE56-0A39-7467176534B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2093" y="944610"/>
            <a:ext cx="8135939" cy="3742650"/>
          </a:xfrm>
        </p:spPr>
        <p:txBody>
          <a:bodyPr/>
          <a:lstStyle/>
          <a:p>
            <a:pPr marL="347490" lvl="1" indent="-171450"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Combination of sounds in such a way as to produce beauty of form, harmony, and expression of emotion</a:t>
            </a:r>
          </a:p>
          <a:p>
            <a:pPr marL="347490" lvl="1" indent="-171450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111111"/>
              </a:solidFill>
              <a:latin typeface="Roboto" panose="02000000000000000000" pitchFamily="2" charset="0"/>
            </a:endParaRPr>
          </a:p>
          <a:p>
            <a:pPr marL="176040" lvl="1" indent="0">
              <a:buNone/>
            </a:pPr>
            <a:endParaRPr lang="en-US" sz="16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A1BE82A-218A-BB5A-285F-3E8231F971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12355" y="1926408"/>
            <a:ext cx="3236819" cy="2272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953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3F662-8904-52EA-D10E-C97367E059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e dimensions of measuring music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5F60DB2-4AC0-1B20-2B0E-5FAB53DDEBB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DD2319-5A22-71D4-D05A-4130498DF8F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3149EC-9D10-0F8F-0870-3996E90184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48013D7-38D5-CFFA-5DD7-08CFD2FD1F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600" dirty="0"/>
              <a:t>Arousal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Represents physiological mechanisms such as arousal and relaxation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121416"/>
                </a:solidFill>
              </a:rPr>
              <a:t>I</a:t>
            </a:r>
            <a:r>
              <a:rPr lang="en-US" sz="1400" b="0" i="0" dirty="0">
                <a:solidFill>
                  <a:srgbClr val="121416"/>
                </a:solidFill>
                <a:effectLst/>
              </a:rPr>
              <a:t>ntense, Vigorous, </a:t>
            </a:r>
            <a:r>
              <a:rPr lang="en-US" sz="1400" dirty="0">
                <a:solidFill>
                  <a:srgbClr val="121416"/>
                </a:solidFill>
              </a:rPr>
              <a:t>A</a:t>
            </a:r>
            <a:r>
              <a:rPr lang="en-US" sz="1400" b="0" i="0" dirty="0">
                <a:solidFill>
                  <a:srgbClr val="121416"/>
                </a:solidFill>
                <a:effectLst/>
              </a:rPr>
              <a:t>brasive, Exciting vs. Gentle, Mellow</a:t>
            </a:r>
            <a:endParaRPr lang="en-US" sz="1400" dirty="0"/>
          </a:p>
          <a:p>
            <a:r>
              <a:rPr lang="en-US" sz="1600" dirty="0"/>
              <a:t>Valenc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Reflects the emotion and mood processe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121416"/>
                </a:solidFill>
              </a:rPr>
              <a:t>F</a:t>
            </a:r>
            <a:r>
              <a:rPr lang="en-US" sz="1400" b="0" i="0" dirty="0">
                <a:solidFill>
                  <a:srgbClr val="121416"/>
                </a:solidFill>
                <a:effectLst/>
              </a:rPr>
              <a:t>un, Happy, Lively, Enthusiastic, Joyful vs. Depressing, Sad</a:t>
            </a:r>
            <a:endParaRPr lang="en-US" sz="1400" dirty="0"/>
          </a:p>
          <a:p>
            <a:r>
              <a:rPr lang="en-US" sz="1600" dirty="0"/>
              <a:t>Depth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121416"/>
                </a:solidFill>
              </a:rPr>
              <a:t>R</a:t>
            </a:r>
            <a:r>
              <a:rPr lang="en-US" sz="1400" b="0" i="0" dirty="0">
                <a:solidFill>
                  <a:srgbClr val="121416"/>
                </a:solidFill>
                <a:effectLst/>
              </a:rPr>
              <a:t>epresents cognitive processe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b="0" i="0" dirty="0">
                <a:solidFill>
                  <a:srgbClr val="121416"/>
                </a:solidFill>
                <a:effectLst/>
              </a:rPr>
              <a:t>Intelligent, Sophisticated, Inspirational, Nuanced, Poetic, Deep, Emotional, Reflective vs. Party music, danceable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065974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B4F60F-AC86-36BA-EF07-CED6AA58D6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s of Music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6CE199-25DE-A57F-42FB-262A28E610A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16A07A-4234-62B3-B202-C97845CE0F2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A509C5-E5DD-A7A1-60C7-DDE2F281F40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3D8E98-FD90-55F2-9592-EAB3721CB2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600" dirty="0"/>
              <a:t>Rock Music 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Strong beats (rhythmic element) </a:t>
            </a:r>
          </a:p>
          <a:p>
            <a:r>
              <a:rPr lang="en-US" sz="1600" dirty="0"/>
              <a:t>Electronic Music 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Electromechanical</a:t>
            </a:r>
          </a:p>
          <a:p>
            <a:r>
              <a:rPr lang="en-US" sz="1600" dirty="0"/>
              <a:t>Country Music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Ballads and Dance tunes</a:t>
            </a:r>
          </a:p>
          <a:p>
            <a:r>
              <a:rPr lang="en-US" sz="1600" dirty="0"/>
              <a:t>Hip-Hop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Rap music (Rhythmic speech)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Beatbox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DJ</a:t>
            </a:r>
          </a:p>
          <a:p>
            <a:r>
              <a:rPr lang="en-US" sz="1600" dirty="0"/>
              <a:t>Traditional and Folk Music</a:t>
            </a:r>
          </a:p>
        </p:txBody>
      </p:sp>
    </p:spTree>
    <p:extLst>
      <p:ext uri="{BB962C8B-B14F-4D97-AF65-F5344CB8AC3E}">
        <p14:creationId xmlns:p14="http://schemas.microsoft.com/office/powerpoint/2010/main" val="485524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33A7B6-3958-0D0D-C8BC-1C5F8E969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ian Music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2300513-D7A8-683E-1E65-3AC9D5A4738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EE54CF-4052-5E1C-3CDF-F6987D4BA4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9354D1-C69B-6A66-B2C6-20864B974F6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958C2B8-6F1F-2A08-4FD2-21EC3C3630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92CC176-346E-1D5A-1883-E49B8B60BCD6}"/>
              </a:ext>
            </a:extLst>
          </p:cNvPr>
          <p:cNvSpPr/>
          <p:nvPr/>
        </p:nvSpPr>
        <p:spPr>
          <a:xfrm>
            <a:off x="3903143" y="1364080"/>
            <a:ext cx="1441612" cy="484094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Indian Music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01E87A1-443D-CE12-4484-EF7D940A8973}"/>
              </a:ext>
            </a:extLst>
          </p:cNvPr>
          <p:cNvSpPr/>
          <p:nvPr/>
        </p:nvSpPr>
        <p:spPr>
          <a:xfrm>
            <a:off x="6646690" y="2281997"/>
            <a:ext cx="1819470" cy="484094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Modern Music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F71BDAAD-F8A1-B321-0B83-001D8EB30BD9}"/>
              </a:ext>
            </a:extLst>
          </p:cNvPr>
          <p:cNvSpPr/>
          <p:nvPr/>
        </p:nvSpPr>
        <p:spPr>
          <a:xfrm>
            <a:off x="3903143" y="2263773"/>
            <a:ext cx="1441612" cy="484094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Folk Music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59F4973-CC0B-2556-6CF8-828E2954834A}"/>
              </a:ext>
            </a:extLst>
          </p:cNvPr>
          <p:cNvSpPr/>
          <p:nvPr/>
        </p:nvSpPr>
        <p:spPr>
          <a:xfrm>
            <a:off x="1083449" y="2292675"/>
            <a:ext cx="1696525" cy="484094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Classical Music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9354E92-95B6-8A95-F629-04DC114D3F4B}"/>
              </a:ext>
            </a:extLst>
          </p:cNvPr>
          <p:cNvCxnSpPr>
            <a:cxnSpLocks/>
          </p:cNvCxnSpPr>
          <p:nvPr/>
        </p:nvCxnSpPr>
        <p:spPr>
          <a:xfrm flipV="1">
            <a:off x="1931711" y="2051637"/>
            <a:ext cx="5621907" cy="221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85C9CDE-5477-FBED-F594-C4413B16C759}"/>
              </a:ext>
            </a:extLst>
          </p:cNvPr>
          <p:cNvCxnSpPr>
            <a:stCxn id="7" idx="2"/>
          </p:cNvCxnSpPr>
          <p:nvPr/>
        </p:nvCxnSpPr>
        <p:spPr>
          <a:xfrm>
            <a:off x="4623949" y="1848174"/>
            <a:ext cx="0" cy="19978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CF32AA59-C4AB-0C75-6F7A-26B9058877D1}"/>
              </a:ext>
            </a:extLst>
          </p:cNvPr>
          <p:cNvCxnSpPr>
            <a:endCxn id="9" idx="0"/>
          </p:cNvCxnSpPr>
          <p:nvPr/>
        </p:nvCxnSpPr>
        <p:spPr>
          <a:xfrm>
            <a:off x="4623949" y="2073761"/>
            <a:ext cx="0" cy="1900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CFB8ABE9-769A-B059-EC61-6350675FE129}"/>
              </a:ext>
            </a:extLst>
          </p:cNvPr>
          <p:cNvCxnSpPr>
            <a:cxnSpLocks/>
            <a:endCxn id="8" idx="0"/>
          </p:cNvCxnSpPr>
          <p:nvPr/>
        </p:nvCxnSpPr>
        <p:spPr>
          <a:xfrm>
            <a:off x="7553618" y="2051637"/>
            <a:ext cx="2807" cy="2303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E3FEF9EE-5AFE-1DA2-4750-40424A015E55}"/>
              </a:ext>
            </a:extLst>
          </p:cNvPr>
          <p:cNvCxnSpPr/>
          <p:nvPr/>
        </p:nvCxnSpPr>
        <p:spPr>
          <a:xfrm flipV="1">
            <a:off x="4623949" y="2047959"/>
            <a:ext cx="0" cy="402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ECD2E3FA-0765-CFDA-49D8-DA37ED2E04FD}"/>
              </a:ext>
            </a:extLst>
          </p:cNvPr>
          <p:cNvCxnSpPr>
            <a:endCxn id="10" idx="0"/>
          </p:cNvCxnSpPr>
          <p:nvPr/>
        </p:nvCxnSpPr>
        <p:spPr>
          <a:xfrm>
            <a:off x="1931711" y="2088212"/>
            <a:ext cx="1" cy="2044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9A47EE8E-DD53-A6B4-E4BC-8736FFDAE60D}"/>
              </a:ext>
            </a:extLst>
          </p:cNvPr>
          <p:cNvSpPr/>
          <p:nvPr/>
        </p:nvSpPr>
        <p:spPr>
          <a:xfrm>
            <a:off x="1484007" y="3007464"/>
            <a:ext cx="1197721" cy="484094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Hindustani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11270E55-646F-6600-2660-83250605371B}"/>
              </a:ext>
            </a:extLst>
          </p:cNvPr>
          <p:cNvSpPr/>
          <p:nvPr/>
        </p:nvSpPr>
        <p:spPr>
          <a:xfrm>
            <a:off x="1484007" y="3724107"/>
            <a:ext cx="1197721" cy="484094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Carnatic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4FA734E3-3274-C9F6-EC45-0BFD3F2A693B}"/>
              </a:ext>
            </a:extLst>
          </p:cNvPr>
          <p:cNvCxnSpPr/>
          <p:nvPr/>
        </p:nvCxnSpPr>
        <p:spPr>
          <a:xfrm>
            <a:off x="1223593" y="2776769"/>
            <a:ext cx="0" cy="118938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89E05455-0294-C576-3714-C9C5CFB3279D}"/>
              </a:ext>
            </a:extLst>
          </p:cNvPr>
          <p:cNvCxnSpPr>
            <a:endCxn id="46" idx="1"/>
          </p:cNvCxnSpPr>
          <p:nvPr/>
        </p:nvCxnSpPr>
        <p:spPr>
          <a:xfrm>
            <a:off x="1223593" y="3966154"/>
            <a:ext cx="26041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EEFA3209-B39D-0042-95BC-3579B1A6940C}"/>
              </a:ext>
            </a:extLst>
          </p:cNvPr>
          <p:cNvCxnSpPr>
            <a:endCxn id="45" idx="1"/>
          </p:cNvCxnSpPr>
          <p:nvPr/>
        </p:nvCxnSpPr>
        <p:spPr>
          <a:xfrm>
            <a:off x="1223593" y="3249511"/>
            <a:ext cx="26041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1CFFD33F-44E3-9937-DCF0-E0ADD8297473}"/>
              </a:ext>
            </a:extLst>
          </p:cNvPr>
          <p:cNvSpPr/>
          <p:nvPr/>
        </p:nvSpPr>
        <p:spPr>
          <a:xfrm>
            <a:off x="4301107" y="2816853"/>
            <a:ext cx="1441612" cy="484094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Rabindra Sangeet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DF48B57D-6E29-3D03-CE96-DCFEA48AC3C6}"/>
              </a:ext>
            </a:extLst>
          </p:cNvPr>
          <p:cNvSpPr/>
          <p:nvPr/>
        </p:nvSpPr>
        <p:spPr>
          <a:xfrm>
            <a:off x="4301107" y="3384295"/>
            <a:ext cx="1441612" cy="484094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Sugam Sangeet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AACD1977-DE79-EA70-6C52-7A052BF11E4E}"/>
              </a:ext>
            </a:extLst>
          </p:cNvPr>
          <p:cNvSpPr/>
          <p:nvPr/>
        </p:nvSpPr>
        <p:spPr>
          <a:xfrm>
            <a:off x="4301107" y="3932029"/>
            <a:ext cx="1441612" cy="484094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Haveli Sangeet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1F39B815-CDA0-18F8-057E-EBFE1336A425}"/>
              </a:ext>
            </a:extLst>
          </p:cNvPr>
          <p:cNvCxnSpPr/>
          <p:nvPr/>
        </p:nvCxnSpPr>
        <p:spPr>
          <a:xfrm>
            <a:off x="4072538" y="2747867"/>
            <a:ext cx="0" cy="14262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B6AC4311-F764-BFFF-50BF-3F5EA75324A6}"/>
              </a:ext>
            </a:extLst>
          </p:cNvPr>
          <p:cNvCxnSpPr>
            <a:endCxn id="55" idx="1"/>
          </p:cNvCxnSpPr>
          <p:nvPr/>
        </p:nvCxnSpPr>
        <p:spPr>
          <a:xfrm>
            <a:off x="4064854" y="4174076"/>
            <a:ext cx="23625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8C3AFE6D-30DE-AAB0-4D82-D065261C1FD4}"/>
              </a:ext>
            </a:extLst>
          </p:cNvPr>
          <p:cNvCxnSpPr>
            <a:endCxn id="54" idx="1"/>
          </p:cNvCxnSpPr>
          <p:nvPr/>
        </p:nvCxnSpPr>
        <p:spPr>
          <a:xfrm>
            <a:off x="4064854" y="3626342"/>
            <a:ext cx="23625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6C82EB98-26C1-BB32-7BFB-E036C6593F90}"/>
              </a:ext>
            </a:extLst>
          </p:cNvPr>
          <p:cNvCxnSpPr>
            <a:endCxn id="53" idx="1"/>
          </p:cNvCxnSpPr>
          <p:nvPr/>
        </p:nvCxnSpPr>
        <p:spPr>
          <a:xfrm>
            <a:off x="4072538" y="3058900"/>
            <a:ext cx="22856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EC98B919-E723-0242-B5B5-F81FE751F758}"/>
              </a:ext>
            </a:extLst>
          </p:cNvPr>
          <p:cNvSpPr/>
          <p:nvPr/>
        </p:nvSpPr>
        <p:spPr>
          <a:xfrm>
            <a:off x="7095294" y="2916978"/>
            <a:ext cx="1106503" cy="484094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Fusion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89014F14-B6EC-DD9E-3978-9978436C23DC}"/>
              </a:ext>
            </a:extLst>
          </p:cNvPr>
          <p:cNvCxnSpPr/>
          <p:nvPr/>
        </p:nvCxnSpPr>
        <p:spPr>
          <a:xfrm>
            <a:off x="6777318" y="2766091"/>
            <a:ext cx="0" cy="39293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B4E287F1-72F7-347C-6B7B-412F9E43F86B}"/>
              </a:ext>
            </a:extLst>
          </p:cNvPr>
          <p:cNvCxnSpPr>
            <a:endCxn id="64" idx="1"/>
          </p:cNvCxnSpPr>
          <p:nvPr/>
        </p:nvCxnSpPr>
        <p:spPr>
          <a:xfrm>
            <a:off x="6777318" y="3159025"/>
            <a:ext cx="31797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714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830DFC-E2DB-257F-9204-95C3FAD492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ementary ideas in Carnatic Music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EC31F2-795C-30D4-563E-AEC90FB3353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29194F-2BD9-0076-DF95-8DC473DCDC8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5B367A-9B77-E714-082C-CD94C50B982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030450-D84A-1273-1B61-02F25692EA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600" dirty="0"/>
              <a:t>Shruti (</a:t>
            </a:r>
            <a:r>
              <a:rPr lang="en-US" sz="1600" dirty="0" err="1"/>
              <a:t>Swara</a:t>
            </a:r>
            <a:r>
              <a:rPr lang="en-US" sz="1600" dirty="0"/>
              <a:t>) (Pitch)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Mata (Mother of music)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smallest interval of pitch that the human ear can detect and a singer or musical instrument can produce</a:t>
            </a:r>
          </a:p>
          <a:p>
            <a:r>
              <a:rPr lang="en-US" sz="1600" dirty="0" err="1"/>
              <a:t>Laya</a:t>
            </a:r>
            <a:r>
              <a:rPr lang="en-US" sz="1600" dirty="0"/>
              <a:t> (Tala)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Pita (Father of music)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Measured in length of tim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Rhythm component of music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en-US" sz="1400" dirty="0"/>
          </a:p>
          <a:p>
            <a:pPr>
              <a:buFont typeface="Wingdings" panose="05000000000000000000" pitchFamily="2" charset="2"/>
              <a:buChar char="Ø"/>
            </a:pPr>
            <a:endParaRPr lang="en-US" sz="1600" dirty="0"/>
          </a:p>
          <a:p>
            <a:pPr marL="0" indent="0">
              <a:buNone/>
            </a:pPr>
            <a:r>
              <a:rPr lang="en-US" sz="1600" dirty="0" err="1"/>
              <a:t>Swaras</a:t>
            </a:r>
            <a:r>
              <a:rPr lang="en-US" sz="1600" dirty="0"/>
              <a:t> :</a:t>
            </a:r>
          </a:p>
          <a:p>
            <a:pPr marL="0" indent="0">
              <a:buNone/>
            </a:pPr>
            <a:endParaRPr lang="en-US" sz="1600" dirty="0"/>
          </a:p>
          <a:p>
            <a:pPr lvl="1">
              <a:buFont typeface="Wingdings" panose="05000000000000000000" pitchFamily="2" charset="2"/>
              <a:buChar char="Ø"/>
            </a:pPr>
            <a:endParaRPr lang="en-US" dirty="0"/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F968790C-3A94-8802-2E7C-D949483DEC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9834412"/>
              </p:ext>
            </p:extLst>
          </p:nvPr>
        </p:nvGraphicFramePr>
        <p:xfrm>
          <a:off x="1354952" y="3561397"/>
          <a:ext cx="6096000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62000">
                  <a:extLst>
                    <a:ext uri="{9D8B030D-6E8A-4147-A177-3AD203B41FA5}">
                      <a16:colId xmlns:a16="http://schemas.microsoft.com/office/drawing/2014/main" val="3932356437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1414155926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4015199702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0711303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3394769845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790751733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122677749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308792060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63285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41586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581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BAA866-D852-A71E-A96A-935B88149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s of Musical Instrument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F7455A-E578-07CA-B56A-957524CC6E3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FEE0C49-5FD6-EEE6-29C8-8983E52B463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6043CD-423C-A680-B00E-FFA4E7BC5CF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F0222F5-A183-E7E9-B3A0-665A4916B9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3236" y="863174"/>
            <a:ext cx="8135939" cy="3904087"/>
          </a:xfrm>
        </p:spPr>
        <p:txBody>
          <a:bodyPr/>
          <a:lstStyle/>
          <a:p>
            <a:r>
              <a:rPr lang="en-US" dirty="0"/>
              <a:t>Percussion instruments</a:t>
            </a:r>
          </a:p>
          <a:p>
            <a:r>
              <a:rPr lang="en-US" dirty="0"/>
              <a:t>String Instruments</a:t>
            </a:r>
          </a:p>
          <a:p>
            <a:r>
              <a:rPr lang="en-US" dirty="0"/>
              <a:t>Wind instruments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FD7D5D5-384B-A4F9-0E01-22E5E0EE19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236" y="1708166"/>
            <a:ext cx="2170566" cy="12231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4AE4648-B9C4-A875-9F72-728263AE28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6271" y="1695577"/>
            <a:ext cx="1804306" cy="124832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C333B73-0D74-A263-FC72-6887E7CC0C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5346837" y="1766170"/>
            <a:ext cx="1874466" cy="110714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BD22087-0AD7-5AAC-A789-0FED8EB265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82574" y="1593598"/>
            <a:ext cx="1339731" cy="145228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3CBA2FB-DCBC-3522-B6DC-5B59AF7531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97736" y="3221331"/>
            <a:ext cx="1778535" cy="1347274"/>
          </a:xfrm>
          <a:prstGeom prst="rect">
            <a:avLst/>
          </a:prstGeom>
        </p:spPr>
      </p:pic>
      <p:pic>
        <p:nvPicPr>
          <p:cNvPr id="1026" name="Picture 2" descr="Bansuri The Instrument">
            <a:extLst>
              <a:ext uri="{FF2B5EF4-FFF2-40B4-BE49-F238E27FC236}">
                <a16:creationId xmlns:a16="http://schemas.microsoft.com/office/drawing/2014/main" id="{9E4EC052-0550-AD2D-9E9C-E9ACC1D11A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5176" y="3138327"/>
            <a:ext cx="1434513" cy="1434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elmer Paris Reference 36 Tenor Saxophone | Musician's Friend">
            <a:extLst>
              <a:ext uri="{FF2B5EF4-FFF2-40B4-BE49-F238E27FC236}">
                <a16:creationId xmlns:a16="http://schemas.microsoft.com/office/drawing/2014/main" id="{9A80F351-295B-5450-BBF5-A3F086895F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544" y="3073453"/>
            <a:ext cx="1643030" cy="1643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9554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650541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3.43900000000000005684E+00&quot;&gt;&lt;m_msothmcolidx val=&quot;0&quot;/&gt;&lt;m_rgb r=&quot;A3&quot; g=&quot;D9&quot; b=&quot;D9&quot;/&gt;&lt;m_nBrightness val=&quot;0&quot;/&gt;&lt;/elem&gt;&lt;elem m_fUsage=&quot;1.41682643648100059508E+00&quot;&gt;&lt;m_msothmcolidx val=&quot;0&quot;/&gt;&lt;m_rgb r=&quot;9E&quot; g=&quot;2D&quot; b=&quot;B1&quot;/&gt;&lt;m_nBrightness val=&quot;0&quot;/&gt;&lt;/elem&gt;&lt;elem m_fUsage=&quot;1.20667841354961047351E+00&quot;&gt;&lt;m_msothmcolidx val=&quot;0&quot;/&gt;&lt;m_rgb r=&quot;EC&quot; g=&quot;43&quot; b=&quot;71&quot;/&gt;&lt;m_nBrightness val=&quot;0&quot;/&gt;&lt;/elem&gt;&lt;elem m_fUsage=&quot;8.80119440100000316463E-01&quot;&gt;&lt;m_msothmcolidx val=&quot;0&quot;/&gt;&lt;m_rgb r=&quot;00&quot; g=&quot;8E&quot; b=&quot;CC&quot;/&gt;&lt;m_nBrightness val=&quot;0&quot;/&gt;&lt;/elem&gt;&lt;elem m_fUsage=&quot;6.84653792832900287557E-01&quot;&gt;&lt;m_msothmcolidx val=&quot;0&quot;/&gt;&lt;m_rgb r=&quot;9E&quot; g=&quot;2D&quot; b=&quot;11&quot;/&gt;&lt;m_nBrightness val=&quot;0&quot;/&gt;&lt;/elem&gt;&lt;elem m_fUsage=&quot;3.13810596090000171188E-01&quot;&gt;&lt;m_msothmcolidx val=&quot;0&quot;/&gt;&lt;m_rgb r=&quot;09&quot; g=&quot;A3&quot; b=&quot;FF&quot;/&gt;&lt;m_nBrightness val=&quot;0&quot;/&gt;&lt;/elem&gt;&lt;elem m_fUsage=&quot;2.05891132094649098594E-01&quot;&gt;&lt;m_msothmcolidx val=&quot;0&quot;/&gt;&lt;m_rgb r=&quot;D3&quot; g=&quot;E8&quot; b=&quot;ED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q1yE6hRTGv_ga4GbII8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.LJhckSGCxmH17d0fWV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3EePDZRDCiGs6qA7F.i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batYagSyKSJhzbVoC0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4VFSuEQQups0ulDuF19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0pDCr0Q2Wp2L0wENceh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c97NhnRtGIQipb0wENx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 template Jan21">
  <a:themeElements>
    <a:clrScheme name="Custom 83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77CC"/>
      </a:accent1>
      <a:accent2>
        <a:srgbClr val="269A91"/>
      </a:accent2>
      <a:accent3>
        <a:srgbClr val="16973A"/>
      </a:accent3>
      <a:accent4>
        <a:srgbClr val="DE7C00"/>
      </a:accent4>
      <a:accent5>
        <a:srgbClr val="D10077"/>
      </a:accent5>
      <a:accent6>
        <a:srgbClr val="8345BA"/>
      </a:accent6>
      <a:hlink>
        <a:srgbClr val="00619F"/>
      </a:hlink>
      <a:folHlink>
        <a:srgbClr val="00629F"/>
      </a:folHlink>
    </a:clrScheme>
    <a:fontScheme name="Custom 12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9C4"/>
        </a:solidFill>
        <a:ln w="25400" cap="flat" cmpd="sng" algn="ctr">
          <a:solidFill>
            <a:srgbClr val="0089C4"/>
          </a:solidFill>
          <a:prstDash val="solid"/>
        </a:ln>
        <a:effectLst/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hilips_presentation_template_16x9_nov18_1112.pptx" id="{BEC723CF-679C-4F78-8FDC-5F75600573FC}" vid="{82C35204-7926-405E-85BB-7292904EC94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FormConfiguration><![CDATA[{"formFields":[],"formDataEntries":[]}]]></TemplafyFormConfiguration>
</file>

<file path=customXml/item10.xml><?xml version="1.0" encoding="utf-8"?>
<TemplafyTemplateConfiguration><![CDATA[{"elementsMetadata":[],"transformationConfigurations":[],"templateName":"presentation_template_14_10_2021","templateDescription":"","enableDocumentContentUpdater":false,"version":"2.0"}]]></TemplafyTemplateConfiguration>
</file>

<file path=customXml/item2.xml><?xml version="1.0" encoding="utf-8"?>
<TemplafySlideFormConfiguration><![CDATA[{"formFields":[],"formDataEntries":[]}]]></TemplafySlideFormConfiguration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5.xml><?xml version="1.0" encoding="utf-8"?>
<TemplafySlideTemplateConfiguration><![CDATA[{"slideVersion":1,"isValidatorEnabled":false,"isLocked":false,"elementsMetadata":[],"slideId":"637698128343669111","enableDocumentContentUpdater":false,"version":"2.0"}]]></TemplafySlideTemplate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?mso-contentType ?>
<SharedContentType xmlns="Microsoft.SharePoint.Taxonomy.ContentTypeSync" SourceId="e40374fb-a6cc-4854-989f-c1d94a7967ee" ContentTypeId="0x01" PreviousValue="false"/>
</file>

<file path=customXml/item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4FCB79FDC76BE4D937E5BCEA8C231AC" ma:contentTypeVersion="11" ma:contentTypeDescription="Create a new document." ma:contentTypeScope="" ma:versionID="9677b63788d8c2ce9415f26aa0a700cf">
  <xsd:schema xmlns:xsd="http://www.w3.org/2001/XMLSchema" xmlns:xs="http://www.w3.org/2001/XMLSchema" xmlns:p="http://schemas.microsoft.com/office/2006/metadata/properties" xmlns:ns2="80741a75-40d0-48ec-9276-f73400de4cfb" xmlns:ns3="0eefcd32-b278-4103-81f5-914d2071dc4a" targetNamespace="http://schemas.microsoft.com/office/2006/metadata/properties" ma:root="true" ma:fieldsID="8bd1dc1c8ad0af85f85bc16d23f80047" ns2:_="" ns3:_="">
    <xsd:import namespace="80741a75-40d0-48ec-9276-f73400de4cfb"/>
    <xsd:import namespace="0eefcd32-b278-4103-81f5-914d2071dc4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741a75-40d0-48ec-9276-f73400de4cf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efcd32-b278-4103-81f5-914d2071dc4a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.xml><?xml version="1.0" encoding="utf-8"?>
<TemplafySlideTemplateConfiguration><![CDATA[{"slideVersion":1,"isValidatorEnabled":false,"isLocked":false,"elementsMetadata":[],"slideId":"637698128343633543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961BB479-C8AA-43D6-A6CB-1C385FA0DCA1}">
  <ds:schemaRefs/>
</ds:datastoreItem>
</file>

<file path=customXml/itemProps10.xml><?xml version="1.0" encoding="utf-8"?>
<ds:datastoreItem xmlns:ds="http://schemas.openxmlformats.org/officeDocument/2006/customXml" ds:itemID="{F537D632-4F2A-497D-93F3-CB16D6200A3E}">
  <ds:schemaRefs/>
</ds:datastoreItem>
</file>

<file path=customXml/itemProps2.xml><?xml version="1.0" encoding="utf-8"?>
<ds:datastoreItem xmlns:ds="http://schemas.openxmlformats.org/officeDocument/2006/customXml" ds:itemID="{7FC0CA0B-49EE-4DEB-A609-ECD7802D7882}">
  <ds:schemaRefs/>
</ds:datastoreItem>
</file>

<file path=customXml/itemProps3.xml><?xml version="1.0" encoding="utf-8"?>
<ds:datastoreItem xmlns:ds="http://schemas.openxmlformats.org/officeDocument/2006/customXml" ds:itemID="{D8CE77F4-195C-4E5F-A364-E1D1576A1579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A4C6DCBC-A10C-4473-AF48-2D79BA76D9DB}">
  <ds:schemaRefs>
    <ds:schemaRef ds:uri="http://purl.org/dc/dcmitype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purl.org/dc/elements/1.1/"/>
    <ds:schemaRef ds:uri="http://www.w3.org/XML/1998/namespace"/>
    <ds:schemaRef ds:uri="80741a75-40d0-48ec-9276-f73400de4cfb"/>
    <ds:schemaRef ds:uri="http://schemas.openxmlformats.org/package/2006/metadata/core-properties"/>
    <ds:schemaRef ds:uri="0eefcd32-b278-4103-81f5-914d2071dc4a"/>
    <ds:schemaRef ds:uri="http://purl.org/dc/terms/"/>
  </ds:schemaRefs>
</ds:datastoreItem>
</file>

<file path=customXml/itemProps5.xml><?xml version="1.0" encoding="utf-8"?>
<ds:datastoreItem xmlns:ds="http://schemas.openxmlformats.org/officeDocument/2006/customXml" ds:itemID="{55B74F0A-C5D3-4E4A-AB30-ED9680CE8A6E}">
  <ds:schemaRefs/>
</ds:datastoreItem>
</file>

<file path=customXml/itemProps6.xml><?xml version="1.0" encoding="utf-8"?>
<ds:datastoreItem xmlns:ds="http://schemas.openxmlformats.org/officeDocument/2006/customXml" ds:itemID="{5DBD0B41-17B3-4548-965B-078F47F73BF8}">
  <ds:schemaRefs/>
</ds:datastoreItem>
</file>

<file path=customXml/itemProps7.xml><?xml version="1.0" encoding="utf-8"?>
<ds:datastoreItem xmlns:ds="http://schemas.openxmlformats.org/officeDocument/2006/customXml" ds:itemID="{59291DE9-DCB1-4D11-944B-BCAA3DCF3614}">
  <ds:schemaRefs>
    <ds:schemaRef ds:uri="Microsoft.SharePoint.Taxonomy.ContentTypeSync"/>
  </ds:schemaRefs>
</ds:datastoreItem>
</file>

<file path=customXml/itemProps8.xml><?xml version="1.0" encoding="utf-8"?>
<ds:datastoreItem xmlns:ds="http://schemas.openxmlformats.org/officeDocument/2006/customXml" ds:itemID="{7AE1259A-D680-490A-8C7C-B3388602A4F1}">
  <ds:schemaRefs>
    <ds:schemaRef ds:uri="0eefcd32-b278-4103-81f5-914d2071dc4a"/>
    <ds:schemaRef ds:uri="80741a75-40d0-48ec-9276-f73400de4cf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.xml><?xml version="1.0" encoding="utf-8"?>
<ds:datastoreItem xmlns:ds="http://schemas.openxmlformats.org/officeDocument/2006/customXml" ds:itemID="{A6DE6974-73AB-4FBD-8F6A-BC3C8AD38132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9</Words>
  <Application>Microsoft Office PowerPoint</Application>
  <PresentationFormat>On-screen Show (16:9)</PresentationFormat>
  <Paragraphs>76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Arial</vt:lpstr>
      <vt:lpstr>Calibri</vt:lpstr>
      <vt:lpstr>Calibri Light</vt:lpstr>
      <vt:lpstr>OpenSans</vt:lpstr>
      <vt:lpstr>Roboto</vt:lpstr>
      <vt:lpstr>Wingdings</vt:lpstr>
      <vt:lpstr>Presentation template Jan21</vt:lpstr>
      <vt:lpstr>think-cell Slide</vt:lpstr>
      <vt:lpstr>PowerPoint Presentation</vt:lpstr>
      <vt:lpstr>What is Music ?</vt:lpstr>
      <vt:lpstr>Three dimensions of measuring music</vt:lpstr>
      <vt:lpstr>Types of Music</vt:lpstr>
      <vt:lpstr>Indian Music</vt:lpstr>
      <vt:lpstr>Elementary ideas in Carnatic Music</vt:lpstr>
      <vt:lpstr>Types of Musical Instrument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say meulemans</dc:creator>
  <cp:lastModifiedBy>R Sharma, Harish</cp:lastModifiedBy>
  <cp:revision>16</cp:revision>
  <dcterms:created xsi:type="dcterms:W3CDTF">2022-07-13T13:09:19Z</dcterms:created>
  <dcterms:modified xsi:type="dcterms:W3CDTF">2023-03-29T05:24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4FCB79FDC76BE4D937E5BCEA8C231AC</vt:lpwstr>
  </property>
  <property fmtid="{D5CDD505-2E9C-101B-9397-08002B2CF9AE}" pid="3" name="TemplafyTimeStamp">
    <vt:lpwstr>2021-10-14T12:53:54</vt:lpwstr>
  </property>
  <property fmtid="{D5CDD505-2E9C-101B-9397-08002B2CF9AE}" pid="4" name="TemplafyTenantId">
    <vt:lpwstr>philips</vt:lpwstr>
  </property>
  <property fmtid="{D5CDD505-2E9C-101B-9397-08002B2CF9AE}" pid="5" name="TemplafyTemplateId">
    <vt:lpwstr>637698128337218991</vt:lpwstr>
  </property>
  <property fmtid="{D5CDD505-2E9C-101B-9397-08002B2CF9AE}" pid="6" name="TemplafyUserProfileId">
    <vt:lpwstr>637657690369597234</vt:lpwstr>
  </property>
  <property fmtid="{D5CDD505-2E9C-101B-9397-08002B2CF9AE}" pid="7" name="TemplafyFromBlank">
    <vt:bool>true</vt:bool>
  </property>
</Properties>
</file>